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3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440.xml" ContentType="application/vnd.openxmlformats-officedocument.presentationml.tags+xml"/>
  <Override PartName="/ppt/notesSlides/notesSlide13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78" r:id="rId13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31.xml" Id="rId134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1.xml.rels>&#65279;<?xml version="1.0" encoding="utf-8"?><Relationships xmlns="http://schemas.openxmlformats.org/package/2006/relationships"><Relationship Type="http://schemas.openxmlformats.org/officeDocument/2006/relationships/slide" Target="/ppt/slides/slide131.xml" Id="rId2" /><Relationship Type="http://schemas.openxmlformats.org/officeDocument/2006/relationships/notesMaster" Target="/ppt/notesMasters/notesMaster1.xml" Id="rId1" /></Relationship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0993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40.xml" Id="rId2" /><Relationship Type="http://schemas.openxmlformats.org/officeDocument/2006/relationships/vmlDrawing" Target="/ppt/drawings/vmlDrawing13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35.bin" Id="rId5" /><Relationship Type="http://schemas.openxmlformats.org/officeDocument/2006/relationships/notesSlide" Target="/ppt/notesSlides/notesSlide131.xml" Id="rId4" /></Relationships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005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Numbered proces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D69AAE5-28B5-7560-5205-5206B5B89577}"/>
              </a:ext>
            </a:extLst>
          </p:cNvPr>
          <p:cNvGrpSpPr>
            <a:grpSpLocks/>
          </p:cNvGrpSpPr>
          <p:nvPr/>
        </p:nvGrpSpPr>
        <p:grpSpPr>
          <a:xfrm>
            <a:off x="409268" y="1563941"/>
            <a:ext cx="4653945" cy="4356646"/>
            <a:chOff x="419100" y="1504949"/>
            <a:chExt cx="4653945" cy="4356646"/>
          </a:xfrm>
        </p:grpSpPr>
        <p:sp>
          <p:nvSpPr>
            <p:cNvPr id="3" name="Ellipse 43">
              <a:extLst>
                <a:ext uri="{FF2B5EF4-FFF2-40B4-BE49-F238E27FC236}">
                  <a16:creationId xmlns:a16="http://schemas.microsoft.com/office/drawing/2014/main" id="{654A9D82-F19A-5C80-2AA2-B8191E490E49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472894" y="2231931"/>
              <a:ext cx="726944" cy="726864"/>
            </a:xfrm>
            <a:custGeom>
              <a:avLst/>
              <a:gdLst>
                <a:gd name="connsiteX0" fmla="*/ 0 w 2160180"/>
                <a:gd name="connsiteY0" fmla="*/ 1079971 h 2159942"/>
                <a:gd name="connsiteX1" fmla="*/ 1080090 w 2160180"/>
                <a:gd name="connsiteY1" fmla="*/ 0 h 2159942"/>
                <a:gd name="connsiteX2" fmla="*/ 2160180 w 2160180"/>
                <a:gd name="connsiteY2" fmla="*/ 1079971 h 2159942"/>
                <a:gd name="connsiteX3" fmla="*/ 1080090 w 2160180"/>
                <a:gd name="connsiteY3" fmla="*/ 2159942 h 2159942"/>
                <a:gd name="connsiteX4" fmla="*/ 0 w 2160180"/>
                <a:gd name="connsiteY4" fmla="*/ 1079971 h 2159942"/>
                <a:gd name="connsiteX0" fmla="*/ 1080090 w 2160180"/>
                <a:gd name="connsiteY0" fmla="*/ 2159942 h 2251382"/>
                <a:gd name="connsiteX1" fmla="*/ 0 w 2160180"/>
                <a:gd name="connsiteY1" fmla="*/ 1079971 h 2251382"/>
                <a:gd name="connsiteX2" fmla="*/ 1080090 w 2160180"/>
                <a:gd name="connsiteY2" fmla="*/ 0 h 2251382"/>
                <a:gd name="connsiteX3" fmla="*/ 2160180 w 2160180"/>
                <a:gd name="connsiteY3" fmla="*/ 1079971 h 2251382"/>
                <a:gd name="connsiteX4" fmla="*/ 1171530 w 2160180"/>
                <a:gd name="connsiteY4" fmla="*/ 2251382 h 2251382"/>
                <a:gd name="connsiteX0" fmla="*/ 1080090 w 2160180"/>
                <a:gd name="connsiteY0" fmla="*/ 2159942 h 2159942"/>
                <a:gd name="connsiteX1" fmla="*/ 0 w 2160180"/>
                <a:gd name="connsiteY1" fmla="*/ 1079971 h 2159942"/>
                <a:gd name="connsiteX2" fmla="*/ 1080090 w 2160180"/>
                <a:gd name="connsiteY2" fmla="*/ 0 h 2159942"/>
                <a:gd name="connsiteX3" fmla="*/ 2160180 w 2160180"/>
                <a:gd name="connsiteY3" fmla="*/ 1079971 h 2159942"/>
                <a:gd name="connsiteX0" fmla="*/ 0 w 2160180"/>
                <a:gd name="connsiteY0" fmla="*/ 1079971 h 1079971"/>
                <a:gd name="connsiteX1" fmla="*/ 1080090 w 2160180"/>
                <a:gd name="connsiteY1" fmla="*/ 0 h 1079971"/>
                <a:gd name="connsiteX2" fmla="*/ 2160180 w 2160180"/>
                <a:gd name="connsiteY2" fmla="*/ 1079971 h 1079971"/>
                <a:gd name="connsiteX0" fmla="*/ -1 w 1080089"/>
                <a:gd name="connsiteY0" fmla="*/ 0 h 1079971"/>
                <a:gd name="connsiteX1" fmla="*/ 1080089 w 1080089"/>
                <a:gd name="connsiteY1" fmla="*/ 1079971 h 107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0089" h="1079971">
                  <a:moveTo>
                    <a:pt x="-1" y="0"/>
                  </a:moveTo>
                  <a:cubicBezTo>
                    <a:pt x="596516" y="0"/>
                    <a:pt x="1080089" y="483519"/>
                    <a:pt x="1080089" y="1079971"/>
                  </a:cubicBezTo>
                </a:path>
              </a:pathLst>
            </a:custGeom>
            <a:noFill/>
            <a:ln w="6350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4" name="Ellipse 43">
              <a:extLst>
                <a:ext uri="{FF2B5EF4-FFF2-40B4-BE49-F238E27FC236}">
                  <a16:creationId xmlns:a16="http://schemas.microsoft.com/office/drawing/2014/main" id="{9CEFD913-4F6B-0465-45B5-A4C13B3AA27B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2019167" y="3680514"/>
              <a:ext cx="726944" cy="726864"/>
            </a:xfrm>
            <a:custGeom>
              <a:avLst/>
              <a:gdLst>
                <a:gd name="connsiteX0" fmla="*/ 0 w 2160180"/>
                <a:gd name="connsiteY0" fmla="*/ 1079971 h 2159942"/>
                <a:gd name="connsiteX1" fmla="*/ 1080090 w 2160180"/>
                <a:gd name="connsiteY1" fmla="*/ 0 h 2159942"/>
                <a:gd name="connsiteX2" fmla="*/ 2160180 w 2160180"/>
                <a:gd name="connsiteY2" fmla="*/ 1079971 h 2159942"/>
                <a:gd name="connsiteX3" fmla="*/ 1080090 w 2160180"/>
                <a:gd name="connsiteY3" fmla="*/ 2159942 h 2159942"/>
                <a:gd name="connsiteX4" fmla="*/ 0 w 2160180"/>
                <a:gd name="connsiteY4" fmla="*/ 1079971 h 2159942"/>
                <a:gd name="connsiteX0" fmla="*/ 1080090 w 2160180"/>
                <a:gd name="connsiteY0" fmla="*/ 2159942 h 2251382"/>
                <a:gd name="connsiteX1" fmla="*/ 0 w 2160180"/>
                <a:gd name="connsiteY1" fmla="*/ 1079971 h 2251382"/>
                <a:gd name="connsiteX2" fmla="*/ 1080090 w 2160180"/>
                <a:gd name="connsiteY2" fmla="*/ 0 h 2251382"/>
                <a:gd name="connsiteX3" fmla="*/ 2160180 w 2160180"/>
                <a:gd name="connsiteY3" fmla="*/ 1079971 h 2251382"/>
                <a:gd name="connsiteX4" fmla="*/ 1171530 w 2160180"/>
                <a:gd name="connsiteY4" fmla="*/ 2251382 h 2251382"/>
                <a:gd name="connsiteX0" fmla="*/ 1080090 w 2160180"/>
                <a:gd name="connsiteY0" fmla="*/ 2159942 h 2159942"/>
                <a:gd name="connsiteX1" fmla="*/ 0 w 2160180"/>
                <a:gd name="connsiteY1" fmla="*/ 1079971 h 2159942"/>
                <a:gd name="connsiteX2" fmla="*/ 1080090 w 2160180"/>
                <a:gd name="connsiteY2" fmla="*/ 0 h 2159942"/>
                <a:gd name="connsiteX3" fmla="*/ 2160180 w 2160180"/>
                <a:gd name="connsiteY3" fmla="*/ 1079971 h 2159942"/>
                <a:gd name="connsiteX0" fmla="*/ 0 w 2160180"/>
                <a:gd name="connsiteY0" fmla="*/ 1079971 h 1079971"/>
                <a:gd name="connsiteX1" fmla="*/ 1080090 w 2160180"/>
                <a:gd name="connsiteY1" fmla="*/ 0 h 1079971"/>
                <a:gd name="connsiteX2" fmla="*/ 2160180 w 2160180"/>
                <a:gd name="connsiteY2" fmla="*/ 1079971 h 1079971"/>
                <a:gd name="connsiteX0" fmla="*/ -1 w 1080089"/>
                <a:gd name="connsiteY0" fmla="*/ 0 h 1079971"/>
                <a:gd name="connsiteX1" fmla="*/ 1080089 w 1080089"/>
                <a:gd name="connsiteY1" fmla="*/ 1079971 h 1079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0089" h="1079971">
                  <a:moveTo>
                    <a:pt x="-1" y="0"/>
                  </a:moveTo>
                  <a:cubicBezTo>
                    <a:pt x="596516" y="0"/>
                    <a:pt x="1080089" y="483519"/>
                    <a:pt x="1080089" y="1079971"/>
                  </a:cubicBezTo>
                </a:path>
              </a:pathLst>
            </a:custGeom>
            <a:noFill/>
            <a:ln w="6350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endParaRPr>
            </a:p>
          </p:txBody>
        </p:sp>
        <p:grpSp>
          <p:nvGrpSpPr>
            <p:cNvPr id="6" name="Gruppieren 9">
              <a:extLst>
                <a:ext uri="{FF2B5EF4-FFF2-40B4-BE49-F238E27FC236}">
                  <a16:creationId xmlns:a16="http://schemas.microsoft.com/office/drawing/2014/main" id="{52527781-6D6D-D1F3-A75B-F4981F2C93DB}"/>
                </a:ext>
              </a:extLst>
            </p:cNvPr>
            <p:cNvGrpSpPr>
              <a:grpSpLocks/>
            </p:cNvGrpSpPr>
            <p:nvPr/>
          </p:nvGrpSpPr>
          <p:grpSpPr bwMode="gray">
            <a:xfrm rot="16200000" flipH="1">
              <a:off x="2746111" y="2959085"/>
              <a:ext cx="1453888" cy="1453966"/>
              <a:chOff x="1601140" y="2276780"/>
              <a:chExt cx="1672921" cy="1673012"/>
            </a:xfrm>
          </p:grpSpPr>
          <p:sp>
            <p:nvSpPr>
              <p:cNvPr id="7" name="Ellipse 43">
                <a:extLst>
                  <a:ext uri="{FF2B5EF4-FFF2-40B4-BE49-F238E27FC236}">
                    <a16:creationId xmlns:a16="http://schemas.microsoft.com/office/drawing/2014/main" id="{680F7EFE-8854-23DC-3FF0-175AED4BC9F8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1601140" y="2277056"/>
                <a:ext cx="836460" cy="836368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-1 w 1080089"/>
                  <a:gd name="connsiteY0" fmla="*/ 0 h 1079971"/>
                  <a:gd name="connsiteX1" fmla="*/ 1080089 w 1080089"/>
                  <a:gd name="connsiteY1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89" h="1079971">
                    <a:moveTo>
                      <a:pt x="-1" y="0"/>
                    </a:moveTo>
                    <a:cubicBezTo>
                      <a:pt x="596516" y="0"/>
                      <a:pt x="1080089" y="483519"/>
                      <a:pt x="1080089" y="1079971"/>
                    </a:cubicBezTo>
                  </a:path>
                </a:pathLst>
              </a:custGeom>
              <a:noFill/>
              <a:ln w="6350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grpSp>
            <p:nvGrpSpPr>
              <p:cNvPr id="9" name="Gruppieren 33">
                <a:extLst>
                  <a:ext uri="{FF2B5EF4-FFF2-40B4-BE49-F238E27FC236}">
                    <a16:creationId xmlns:a16="http://schemas.microsoft.com/office/drawing/2014/main" id="{82FEF21B-FFB5-C6D7-442F-6B695A7836DE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601140" y="2277056"/>
                <a:ext cx="1672921" cy="1672736"/>
                <a:chOff x="4118900" y="2294565"/>
                <a:chExt cx="1980165" cy="1979946"/>
              </a:xfrm>
            </p:grpSpPr>
            <p:sp>
              <p:nvSpPr>
                <p:cNvPr id="12" name="Ellipse 43">
                  <a:extLst>
                    <a:ext uri="{FF2B5EF4-FFF2-40B4-BE49-F238E27FC236}">
                      <a16:creationId xmlns:a16="http://schemas.microsoft.com/office/drawing/2014/main" id="{F8D0C77D-1C08-D04D-3F85-8BE0895D44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 flipV="1">
                  <a:off x="4118900" y="3284538"/>
                  <a:ext cx="1980165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60180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  <a:cubicBezTo>
                        <a:pt x="1676607" y="0"/>
                        <a:pt x="2160180" y="483519"/>
                        <a:pt x="2160180" y="1079971"/>
                      </a:cubicBezTo>
                    </a:path>
                  </a:pathLst>
                </a:custGeom>
                <a:noFill/>
                <a:ln w="38100" cap="flat" cmpd="sng" algn="ctr">
                  <a:solidFill>
                    <a:schemeClr val="accent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3" name="Ellipse 43">
                  <a:extLst>
                    <a:ext uri="{FF2B5EF4-FFF2-40B4-BE49-F238E27FC236}">
                      <a16:creationId xmlns:a16="http://schemas.microsoft.com/office/drawing/2014/main" id="{532C867B-A790-DEA4-07EA-02174DF7AD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>
                  <a:off x="5108982" y="2294565"/>
                  <a:ext cx="990083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  <a:gd name="connsiteX0" fmla="*/ 0 w 1080091"/>
                    <a:gd name="connsiteY0" fmla="*/ 1079971 h 1079971"/>
                    <a:gd name="connsiteX1" fmla="*/ 1080090 w 1080091"/>
                    <a:gd name="connsiteY1" fmla="*/ 0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091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</a:path>
                  </a:pathLst>
                </a:custGeom>
                <a:noFill/>
                <a:ln w="38100" cap="sq" cmpd="sng" algn="ctr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sp>
            <p:nvSpPr>
              <p:cNvPr id="11" name="Textfeld 34">
                <a:extLst>
                  <a:ext uri="{FF2B5EF4-FFF2-40B4-BE49-F238E27FC236}">
                    <a16:creationId xmlns:a16="http://schemas.microsoft.com/office/drawing/2014/main" id="{62282D3C-EBF1-26FA-7714-D647FED43D3E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 rot="16200000">
                <a:off x="1603750" y="2953875"/>
                <a:ext cx="1672920" cy="31873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6"/>
                    </a:solidFill>
                    <a:effectLst/>
                    <a:uLnTx/>
                    <a:uFillTx/>
                    <a:ea typeface="+mn-ea"/>
                  </a:rPr>
                  <a:t>02.</a:t>
                </a:r>
              </a:p>
            </p:txBody>
          </p:sp>
        </p:grpSp>
        <p:grpSp>
          <p:nvGrpSpPr>
            <p:cNvPr id="14" name="Gruppieren 10">
              <a:extLst>
                <a:ext uri="{FF2B5EF4-FFF2-40B4-BE49-F238E27FC236}">
                  <a16:creationId xmlns:a16="http://schemas.microsoft.com/office/drawing/2014/main" id="{5A57C3DB-5DCC-7A22-0F41-AE74500884FA}"/>
                </a:ext>
              </a:extLst>
            </p:cNvPr>
            <p:cNvGrpSpPr>
              <a:grpSpLocks/>
            </p:cNvGrpSpPr>
            <p:nvPr/>
          </p:nvGrpSpPr>
          <p:grpSpPr bwMode="gray">
            <a:xfrm rot="5400000" flipH="1">
              <a:off x="2746111" y="1504911"/>
              <a:ext cx="1453888" cy="1453964"/>
              <a:chOff x="1601140" y="2276782"/>
              <a:chExt cx="1672921" cy="1673010"/>
            </a:xfrm>
          </p:grpSpPr>
          <p:grpSp>
            <p:nvGrpSpPr>
              <p:cNvPr id="15" name="Gruppieren 28">
                <a:extLst>
                  <a:ext uri="{FF2B5EF4-FFF2-40B4-BE49-F238E27FC236}">
                    <a16:creationId xmlns:a16="http://schemas.microsoft.com/office/drawing/2014/main" id="{5D72F965-2125-F10E-44F6-0561FCDDA306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601140" y="2277056"/>
                <a:ext cx="1672921" cy="1672736"/>
                <a:chOff x="4118900" y="2294565"/>
                <a:chExt cx="1980165" cy="1979946"/>
              </a:xfrm>
            </p:grpSpPr>
            <p:sp>
              <p:nvSpPr>
                <p:cNvPr id="17" name="Ellipse 43">
                  <a:extLst>
                    <a:ext uri="{FF2B5EF4-FFF2-40B4-BE49-F238E27FC236}">
                      <a16:creationId xmlns:a16="http://schemas.microsoft.com/office/drawing/2014/main" id="{0AE9FB60-477B-2C73-F622-FC916E3571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 flipV="1">
                  <a:off x="4118900" y="3284538"/>
                  <a:ext cx="1980165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60180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  <a:cubicBezTo>
                        <a:pt x="1676607" y="0"/>
                        <a:pt x="2160180" y="483519"/>
                        <a:pt x="2160180" y="1079971"/>
                      </a:cubicBezTo>
                    </a:path>
                  </a:pathLst>
                </a:custGeom>
                <a:noFill/>
                <a:ln w="38100" cap="flat" cmpd="sng" algn="ctr">
                  <a:solidFill>
                    <a:schemeClr val="accent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8" name="Ellipse 43">
                  <a:extLst>
                    <a:ext uri="{FF2B5EF4-FFF2-40B4-BE49-F238E27FC236}">
                      <a16:creationId xmlns:a16="http://schemas.microsoft.com/office/drawing/2014/main" id="{A9198CF0-4BE3-AA8E-859F-5D413D60DDF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>
                  <a:off x="5108982" y="2294565"/>
                  <a:ext cx="990083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  <a:gd name="connsiteX0" fmla="*/ 0 w 1080091"/>
                    <a:gd name="connsiteY0" fmla="*/ 1079971 h 1079971"/>
                    <a:gd name="connsiteX1" fmla="*/ 1080090 w 1080091"/>
                    <a:gd name="connsiteY1" fmla="*/ 0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091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</a:path>
                  </a:pathLst>
                </a:custGeom>
                <a:noFill/>
                <a:ln w="38100" cap="sq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sp>
            <p:nvSpPr>
              <p:cNvPr id="16" name="Textfeld 29">
                <a:extLst>
                  <a:ext uri="{FF2B5EF4-FFF2-40B4-BE49-F238E27FC236}">
                    <a16:creationId xmlns:a16="http://schemas.microsoft.com/office/drawing/2014/main" id="{A3C7CAC7-1E61-305D-D3E1-DF0145379F7C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 rot="5400000">
                <a:off x="1603751" y="2953877"/>
                <a:ext cx="1672919" cy="3187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rPr>
                  <a:t>01</a:t>
                </a:r>
              </a:p>
            </p:txBody>
          </p:sp>
        </p:grpSp>
        <p:grpSp>
          <p:nvGrpSpPr>
            <p:cNvPr id="19" name="Gruppieren 11">
              <a:extLst>
                <a:ext uri="{FF2B5EF4-FFF2-40B4-BE49-F238E27FC236}">
                  <a16:creationId xmlns:a16="http://schemas.microsoft.com/office/drawing/2014/main" id="{2530070E-2A6A-5CDF-8B47-7398D4AA56A9}"/>
                </a:ext>
              </a:extLst>
            </p:cNvPr>
            <p:cNvGrpSpPr>
              <a:grpSpLocks/>
            </p:cNvGrpSpPr>
            <p:nvPr/>
          </p:nvGrpSpPr>
          <p:grpSpPr bwMode="gray">
            <a:xfrm rot="16200000" flipH="1">
              <a:off x="1292384" y="4407668"/>
              <a:ext cx="1453888" cy="1453966"/>
              <a:chOff x="1601140" y="2276780"/>
              <a:chExt cx="1672921" cy="1673012"/>
            </a:xfrm>
          </p:grpSpPr>
          <p:sp>
            <p:nvSpPr>
              <p:cNvPr id="20" name="Ellipse 43">
                <a:extLst>
                  <a:ext uri="{FF2B5EF4-FFF2-40B4-BE49-F238E27FC236}">
                    <a16:creationId xmlns:a16="http://schemas.microsoft.com/office/drawing/2014/main" id="{EEE0634D-7D8E-A99B-9985-38FD555546B8}"/>
                  </a:ext>
                </a:extLst>
              </p:cNvPr>
              <p:cNvSpPr>
                <a:spLocks/>
              </p:cNvSpPr>
              <p:nvPr/>
            </p:nvSpPr>
            <p:spPr bwMode="gray">
              <a:xfrm flipH="1">
                <a:off x="1601140" y="2277056"/>
                <a:ext cx="836460" cy="836368"/>
              </a:xfrm>
              <a:custGeom>
                <a:avLst/>
                <a:gdLst>
                  <a:gd name="connsiteX0" fmla="*/ 0 w 2160180"/>
                  <a:gd name="connsiteY0" fmla="*/ 1079971 h 2159942"/>
                  <a:gd name="connsiteX1" fmla="*/ 1080090 w 2160180"/>
                  <a:gd name="connsiteY1" fmla="*/ 0 h 2159942"/>
                  <a:gd name="connsiteX2" fmla="*/ 2160180 w 2160180"/>
                  <a:gd name="connsiteY2" fmla="*/ 1079971 h 2159942"/>
                  <a:gd name="connsiteX3" fmla="*/ 1080090 w 2160180"/>
                  <a:gd name="connsiteY3" fmla="*/ 2159942 h 2159942"/>
                  <a:gd name="connsiteX4" fmla="*/ 0 w 2160180"/>
                  <a:gd name="connsiteY4" fmla="*/ 1079971 h 2159942"/>
                  <a:gd name="connsiteX0" fmla="*/ 1080090 w 2160180"/>
                  <a:gd name="connsiteY0" fmla="*/ 2159942 h 2251382"/>
                  <a:gd name="connsiteX1" fmla="*/ 0 w 2160180"/>
                  <a:gd name="connsiteY1" fmla="*/ 1079971 h 2251382"/>
                  <a:gd name="connsiteX2" fmla="*/ 1080090 w 2160180"/>
                  <a:gd name="connsiteY2" fmla="*/ 0 h 2251382"/>
                  <a:gd name="connsiteX3" fmla="*/ 2160180 w 2160180"/>
                  <a:gd name="connsiteY3" fmla="*/ 1079971 h 2251382"/>
                  <a:gd name="connsiteX4" fmla="*/ 1171530 w 2160180"/>
                  <a:gd name="connsiteY4" fmla="*/ 2251382 h 2251382"/>
                  <a:gd name="connsiteX0" fmla="*/ 1080090 w 2160180"/>
                  <a:gd name="connsiteY0" fmla="*/ 2159942 h 2159942"/>
                  <a:gd name="connsiteX1" fmla="*/ 0 w 2160180"/>
                  <a:gd name="connsiteY1" fmla="*/ 1079971 h 2159942"/>
                  <a:gd name="connsiteX2" fmla="*/ 1080090 w 2160180"/>
                  <a:gd name="connsiteY2" fmla="*/ 0 h 2159942"/>
                  <a:gd name="connsiteX3" fmla="*/ 2160180 w 2160180"/>
                  <a:gd name="connsiteY3" fmla="*/ 1079971 h 2159942"/>
                  <a:gd name="connsiteX0" fmla="*/ 0 w 2160180"/>
                  <a:gd name="connsiteY0" fmla="*/ 1079971 h 1079971"/>
                  <a:gd name="connsiteX1" fmla="*/ 1080090 w 2160180"/>
                  <a:gd name="connsiteY1" fmla="*/ 0 h 1079971"/>
                  <a:gd name="connsiteX2" fmla="*/ 2160180 w 2160180"/>
                  <a:gd name="connsiteY2" fmla="*/ 1079971 h 1079971"/>
                  <a:gd name="connsiteX0" fmla="*/ -1 w 1080089"/>
                  <a:gd name="connsiteY0" fmla="*/ 0 h 1079971"/>
                  <a:gd name="connsiteX1" fmla="*/ 1080089 w 1080089"/>
                  <a:gd name="connsiteY1" fmla="*/ 1079971 h 1079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80089" h="1079971">
                    <a:moveTo>
                      <a:pt x="-1" y="0"/>
                    </a:moveTo>
                    <a:cubicBezTo>
                      <a:pt x="596516" y="0"/>
                      <a:pt x="1080089" y="483519"/>
                      <a:pt x="1080089" y="1079971"/>
                    </a:cubicBezTo>
                  </a:path>
                </a:pathLst>
              </a:custGeom>
              <a:noFill/>
              <a:ln w="6350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grpSp>
            <p:nvGrpSpPr>
              <p:cNvPr id="21" name="Gruppieren 24">
                <a:extLst>
                  <a:ext uri="{FF2B5EF4-FFF2-40B4-BE49-F238E27FC236}">
                    <a16:creationId xmlns:a16="http://schemas.microsoft.com/office/drawing/2014/main" id="{393787AC-D578-8B54-3F52-A826F5708F76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601140" y="2277056"/>
                <a:ext cx="1672921" cy="1672736"/>
                <a:chOff x="4118900" y="2294565"/>
                <a:chExt cx="1980165" cy="1979946"/>
              </a:xfrm>
            </p:grpSpPr>
            <p:sp>
              <p:nvSpPr>
                <p:cNvPr id="23" name="Ellipse 43">
                  <a:extLst>
                    <a:ext uri="{FF2B5EF4-FFF2-40B4-BE49-F238E27FC236}">
                      <a16:creationId xmlns:a16="http://schemas.microsoft.com/office/drawing/2014/main" id="{69EA87B8-0CFF-23D9-D111-5A03DDD17E4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 flipV="1">
                  <a:off x="4118900" y="3284538"/>
                  <a:ext cx="1980165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60180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  <a:cubicBezTo>
                        <a:pt x="1676607" y="0"/>
                        <a:pt x="2160180" y="483519"/>
                        <a:pt x="2160180" y="1079971"/>
                      </a:cubicBezTo>
                    </a:path>
                  </a:pathLst>
                </a:custGeom>
                <a:noFill/>
                <a:ln w="38100" cap="flat" cmpd="sng" algn="ctr">
                  <a:solidFill>
                    <a:schemeClr val="accent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24" name="Ellipse 43">
                  <a:extLst>
                    <a:ext uri="{FF2B5EF4-FFF2-40B4-BE49-F238E27FC236}">
                      <a16:creationId xmlns:a16="http://schemas.microsoft.com/office/drawing/2014/main" id="{260CBF55-A4EC-6267-D710-B0F228C77A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>
                  <a:off x="5108982" y="2294565"/>
                  <a:ext cx="990083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  <a:gd name="connsiteX0" fmla="*/ 0 w 1080091"/>
                    <a:gd name="connsiteY0" fmla="*/ 1079971 h 1079971"/>
                    <a:gd name="connsiteX1" fmla="*/ 1080090 w 1080091"/>
                    <a:gd name="connsiteY1" fmla="*/ 0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091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</a:path>
                  </a:pathLst>
                </a:custGeom>
                <a:noFill/>
                <a:ln w="38100" cap="sq" cmpd="sng" algn="ctr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sp>
            <p:nvSpPr>
              <p:cNvPr id="22" name="Textfeld 25">
                <a:extLst>
                  <a:ext uri="{FF2B5EF4-FFF2-40B4-BE49-F238E27FC236}">
                    <a16:creationId xmlns:a16="http://schemas.microsoft.com/office/drawing/2014/main" id="{3FCC3202-1B53-179C-3B3F-CDE1ACDD806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 rot="16200000">
                <a:off x="1603750" y="2953875"/>
                <a:ext cx="1672920" cy="31873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6"/>
                    </a:solidFill>
                    <a:effectLst/>
                    <a:uLnTx/>
                    <a:uFillTx/>
                    <a:ea typeface="+mn-ea"/>
                  </a:rPr>
                  <a:t>04.</a:t>
                </a:r>
              </a:p>
            </p:txBody>
          </p:sp>
        </p:grpSp>
        <p:grpSp>
          <p:nvGrpSpPr>
            <p:cNvPr id="25" name="Gruppieren 12">
              <a:extLst>
                <a:ext uri="{FF2B5EF4-FFF2-40B4-BE49-F238E27FC236}">
                  <a16:creationId xmlns:a16="http://schemas.microsoft.com/office/drawing/2014/main" id="{B98B6DFD-7FA7-3064-508E-D32717281979}"/>
                </a:ext>
              </a:extLst>
            </p:cNvPr>
            <p:cNvGrpSpPr>
              <a:grpSpLocks/>
            </p:cNvGrpSpPr>
            <p:nvPr/>
          </p:nvGrpSpPr>
          <p:grpSpPr bwMode="gray">
            <a:xfrm rot="5400000" flipH="1">
              <a:off x="1292384" y="2953494"/>
              <a:ext cx="1453888" cy="1453964"/>
              <a:chOff x="1601140" y="2276782"/>
              <a:chExt cx="1672921" cy="1673010"/>
            </a:xfrm>
          </p:grpSpPr>
          <p:grpSp>
            <p:nvGrpSpPr>
              <p:cNvPr id="26" name="Gruppieren 19">
                <a:extLst>
                  <a:ext uri="{FF2B5EF4-FFF2-40B4-BE49-F238E27FC236}">
                    <a16:creationId xmlns:a16="http://schemas.microsoft.com/office/drawing/2014/main" id="{A14E3963-9587-193D-B694-3C5958058B89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601140" y="2277056"/>
                <a:ext cx="1672921" cy="1672736"/>
                <a:chOff x="4118900" y="2294565"/>
                <a:chExt cx="1980165" cy="1979946"/>
              </a:xfrm>
            </p:grpSpPr>
            <p:sp>
              <p:nvSpPr>
                <p:cNvPr id="28" name="Ellipse 43">
                  <a:extLst>
                    <a:ext uri="{FF2B5EF4-FFF2-40B4-BE49-F238E27FC236}">
                      <a16:creationId xmlns:a16="http://schemas.microsoft.com/office/drawing/2014/main" id="{20D313ED-0AD6-44CE-A6C5-ADDA45CC8C1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 flipV="1">
                  <a:off x="4118900" y="3284538"/>
                  <a:ext cx="1980165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60180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  <a:cubicBezTo>
                        <a:pt x="1676607" y="0"/>
                        <a:pt x="2160180" y="483519"/>
                        <a:pt x="2160180" y="1079971"/>
                      </a:cubicBezTo>
                    </a:path>
                  </a:pathLst>
                </a:custGeom>
                <a:noFill/>
                <a:ln w="38100" cap="flat" cmpd="sng" algn="ctr">
                  <a:solidFill>
                    <a:schemeClr val="accent1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29" name="Ellipse 43">
                  <a:extLst>
                    <a:ext uri="{FF2B5EF4-FFF2-40B4-BE49-F238E27FC236}">
                      <a16:creationId xmlns:a16="http://schemas.microsoft.com/office/drawing/2014/main" id="{9050E1CB-CB1B-EE71-0F13-8D2747EB1A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flipH="1">
                  <a:off x="5108982" y="2294565"/>
                  <a:ext cx="990083" cy="989973"/>
                </a:xfrm>
                <a:custGeom>
                  <a:avLst/>
                  <a:gdLst>
                    <a:gd name="connsiteX0" fmla="*/ 0 w 2160180"/>
                    <a:gd name="connsiteY0" fmla="*/ 1079971 h 2159942"/>
                    <a:gd name="connsiteX1" fmla="*/ 1080090 w 2160180"/>
                    <a:gd name="connsiteY1" fmla="*/ 0 h 2159942"/>
                    <a:gd name="connsiteX2" fmla="*/ 2160180 w 2160180"/>
                    <a:gd name="connsiteY2" fmla="*/ 1079971 h 2159942"/>
                    <a:gd name="connsiteX3" fmla="*/ 1080090 w 2160180"/>
                    <a:gd name="connsiteY3" fmla="*/ 2159942 h 2159942"/>
                    <a:gd name="connsiteX4" fmla="*/ 0 w 2160180"/>
                    <a:gd name="connsiteY4" fmla="*/ 1079971 h 2159942"/>
                    <a:gd name="connsiteX0" fmla="*/ 1080090 w 2160180"/>
                    <a:gd name="connsiteY0" fmla="*/ 2159942 h 2251382"/>
                    <a:gd name="connsiteX1" fmla="*/ 0 w 2160180"/>
                    <a:gd name="connsiteY1" fmla="*/ 1079971 h 2251382"/>
                    <a:gd name="connsiteX2" fmla="*/ 1080090 w 2160180"/>
                    <a:gd name="connsiteY2" fmla="*/ 0 h 2251382"/>
                    <a:gd name="connsiteX3" fmla="*/ 2160180 w 2160180"/>
                    <a:gd name="connsiteY3" fmla="*/ 1079971 h 2251382"/>
                    <a:gd name="connsiteX4" fmla="*/ 1171530 w 2160180"/>
                    <a:gd name="connsiteY4" fmla="*/ 2251382 h 2251382"/>
                    <a:gd name="connsiteX0" fmla="*/ 1080090 w 2160180"/>
                    <a:gd name="connsiteY0" fmla="*/ 2159942 h 2159942"/>
                    <a:gd name="connsiteX1" fmla="*/ 0 w 2160180"/>
                    <a:gd name="connsiteY1" fmla="*/ 1079971 h 2159942"/>
                    <a:gd name="connsiteX2" fmla="*/ 1080090 w 2160180"/>
                    <a:gd name="connsiteY2" fmla="*/ 0 h 2159942"/>
                    <a:gd name="connsiteX3" fmla="*/ 2160180 w 2160180"/>
                    <a:gd name="connsiteY3" fmla="*/ 1079971 h 2159942"/>
                    <a:gd name="connsiteX0" fmla="*/ 0 w 2160180"/>
                    <a:gd name="connsiteY0" fmla="*/ 1079971 h 1079971"/>
                    <a:gd name="connsiteX1" fmla="*/ 1080090 w 2160180"/>
                    <a:gd name="connsiteY1" fmla="*/ 0 h 1079971"/>
                    <a:gd name="connsiteX2" fmla="*/ 2160180 w 2160180"/>
                    <a:gd name="connsiteY2" fmla="*/ 1079971 h 1079971"/>
                    <a:gd name="connsiteX0" fmla="*/ 0 w 1080091"/>
                    <a:gd name="connsiteY0" fmla="*/ 1079971 h 1079971"/>
                    <a:gd name="connsiteX1" fmla="*/ 1080090 w 1080091"/>
                    <a:gd name="connsiteY1" fmla="*/ 0 h 10799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091" h="1079971">
                      <a:moveTo>
                        <a:pt x="0" y="1079971"/>
                      </a:moveTo>
                      <a:cubicBezTo>
                        <a:pt x="0" y="483519"/>
                        <a:pt x="483573" y="0"/>
                        <a:pt x="1080090" y="0"/>
                      </a:cubicBezTo>
                    </a:path>
                  </a:pathLst>
                </a:custGeom>
                <a:noFill/>
                <a:ln w="38100" cap="sq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sp>
            <p:nvSpPr>
              <p:cNvPr id="27" name="Textfeld 20">
                <a:extLst>
                  <a:ext uri="{FF2B5EF4-FFF2-40B4-BE49-F238E27FC236}">
                    <a16:creationId xmlns:a16="http://schemas.microsoft.com/office/drawing/2014/main" id="{9D7E2674-C24C-2977-261B-F62A5A641C8B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 rot="5400000">
                <a:off x="1603751" y="2953877"/>
                <a:ext cx="1672919" cy="3187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ea typeface="+mn-ea"/>
                  </a:rPr>
                  <a:t>03.</a:t>
                </a:r>
              </a:p>
            </p:txBody>
          </p:sp>
        </p:grpSp>
        <p:grpSp>
          <p:nvGrpSpPr>
            <p:cNvPr id="30" name="Gruppieren 13">
              <a:extLst>
                <a:ext uri="{FF2B5EF4-FFF2-40B4-BE49-F238E27FC236}">
                  <a16:creationId xmlns:a16="http://schemas.microsoft.com/office/drawing/2014/main" id="{92ED0E32-B53E-E307-BA07-7133548E1956}"/>
                </a:ext>
              </a:extLst>
            </p:cNvPr>
            <p:cNvGrpSpPr>
              <a:grpSpLocks/>
            </p:cNvGrpSpPr>
            <p:nvPr/>
          </p:nvGrpSpPr>
          <p:grpSpPr bwMode="gray">
            <a:xfrm flipH="1" flipV="1">
              <a:off x="4199557" y="2264458"/>
              <a:ext cx="873488" cy="215871"/>
              <a:chOff x="9102726" y="944561"/>
              <a:chExt cx="1311824" cy="324199"/>
            </a:xfrm>
          </p:grpSpPr>
          <p:sp>
            <p:nvSpPr>
              <p:cNvPr id="31" name="Teilkreis 30">
                <a:extLst>
                  <a:ext uri="{FF2B5EF4-FFF2-40B4-BE49-F238E27FC236}">
                    <a16:creationId xmlns:a16="http://schemas.microsoft.com/office/drawing/2014/main" id="{D99F1D84-3E2F-CCB6-1549-758F474D6F44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0090351" y="944561"/>
                <a:ext cx="324199" cy="324199"/>
              </a:xfrm>
              <a:custGeom>
                <a:avLst/>
                <a:gdLst>
                  <a:gd name="connsiteX0" fmla="*/ 0 w 1008112"/>
                  <a:gd name="connsiteY0" fmla="*/ 504056 h 1008112"/>
                  <a:gd name="connsiteX1" fmla="*/ 504056 w 1008112"/>
                  <a:gd name="connsiteY1" fmla="*/ 0 h 1008112"/>
                  <a:gd name="connsiteX2" fmla="*/ 504056 w 1008112"/>
                  <a:gd name="connsiteY2" fmla="*/ 504056 h 1008112"/>
                  <a:gd name="connsiteX3" fmla="*/ 0 w 1008112"/>
                  <a:gd name="connsiteY3" fmla="*/ 504056 h 1008112"/>
                  <a:gd name="connsiteX0" fmla="*/ 504056 w 595496"/>
                  <a:gd name="connsiteY0" fmla="*/ 504056 h 595496"/>
                  <a:gd name="connsiteX1" fmla="*/ 0 w 595496"/>
                  <a:gd name="connsiteY1" fmla="*/ 504056 h 595496"/>
                  <a:gd name="connsiteX2" fmla="*/ 504056 w 595496"/>
                  <a:gd name="connsiteY2" fmla="*/ 0 h 595496"/>
                  <a:gd name="connsiteX3" fmla="*/ 595496 w 595496"/>
                  <a:gd name="connsiteY3" fmla="*/ 595496 h 595496"/>
                  <a:gd name="connsiteX0" fmla="*/ 504056 w 504056"/>
                  <a:gd name="connsiteY0" fmla="*/ 504056 h 504056"/>
                  <a:gd name="connsiteX1" fmla="*/ 0 w 504056"/>
                  <a:gd name="connsiteY1" fmla="*/ 504056 h 504056"/>
                  <a:gd name="connsiteX2" fmla="*/ 504056 w 504056"/>
                  <a:gd name="connsiteY2" fmla="*/ 0 h 504056"/>
                  <a:gd name="connsiteX0" fmla="*/ 504056 w 504056"/>
                  <a:gd name="connsiteY0" fmla="*/ 504056 h 504056"/>
                  <a:gd name="connsiteX1" fmla="*/ 0 w 504056"/>
                  <a:gd name="connsiteY1" fmla="*/ 504056 h 504056"/>
                  <a:gd name="connsiteX2" fmla="*/ 504056 w 504056"/>
                  <a:gd name="connsiteY2" fmla="*/ 0 h 504056"/>
                  <a:gd name="connsiteX0" fmla="*/ 0 w 504056"/>
                  <a:gd name="connsiteY0" fmla="*/ 504056 h 504056"/>
                  <a:gd name="connsiteX1" fmla="*/ 504056 w 504056"/>
                  <a:gd name="connsiteY1" fmla="*/ 0 h 504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056" h="504056">
                    <a:moveTo>
                      <a:pt x="0" y="504056"/>
                    </a:moveTo>
                    <a:cubicBezTo>
                      <a:pt x="0" y="225674"/>
                      <a:pt x="225674" y="0"/>
                      <a:pt x="504056" y="0"/>
                    </a:cubicBezTo>
                  </a:path>
                </a:pathLst>
              </a:custGeom>
              <a:noFill/>
              <a:ln w="38100" cap="sq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cxnSp>
            <p:nvCxnSpPr>
              <p:cNvPr id="32" name="Gerader Verbinder 18">
                <a:extLst>
                  <a:ext uri="{FF2B5EF4-FFF2-40B4-BE49-F238E27FC236}">
                    <a16:creationId xmlns:a16="http://schemas.microsoft.com/office/drawing/2014/main" id="{2C7D9148-15F2-0F16-FC4A-6B563C7C9AAA}"/>
                  </a:ext>
                </a:extLst>
              </p:cNvPr>
              <p:cNvCxnSpPr>
                <a:cxnSpLocks/>
                <a:stCxn id="31" idx="0"/>
              </p:cNvCxnSpPr>
              <p:nvPr/>
            </p:nvCxnSpPr>
            <p:spPr bwMode="gray">
              <a:xfrm flipH="1" flipV="1">
                <a:off x="9102726" y="944561"/>
                <a:ext cx="987624" cy="0"/>
              </a:xfrm>
              <a:prstGeom prst="line">
                <a:avLst/>
              </a:prstGeom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14">
              <a:extLst>
                <a:ext uri="{FF2B5EF4-FFF2-40B4-BE49-F238E27FC236}">
                  <a16:creationId xmlns:a16="http://schemas.microsoft.com/office/drawing/2014/main" id="{430706C7-A1F8-AB41-AFFA-70424E1B4482}"/>
                </a:ext>
              </a:extLst>
            </p:cNvPr>
            <p:cNvGrpSpPr>
              <a:grpSpLocks/>
            </p:cNvGrpSpPr>
            <p:nvPr/>
          </p:nvGrpSpPr>
          <p:grpSpPr bwMode="gray">
            <a:xfrm rot="10800000" flipH="1" flipV="1">
              <a:off x="419100" y="4880070"/>
              <a:ext cx="873486" cy="215871"/>
              <a:chOff x="9102728" y="944561"/>
              <a:chExt cx="1311822" cy="324199"/>
            </a:xfrm>
          </p:grpSpPr>
          <p:sp>
            <p:nvSpPr>
              <p:cNvPr id="34" name="Teilkreis 30">
                <a:extLst>
                  <a:ext uri="{FF2B5EF4-FFF2-40B4-BE49-F238E27FC236}">
                    <a16:creationId xmlns:a16="http://schemas.microsoft.com/office/drawing/2014/main" id="{6DBA3175-5DA2-360D-1CE2-4B12664C3B34}"/>
                  </a:ext>
                </a:extLst>
              </p:cNvPr>
              <p:cNvSpPr>
                <a:spLocks/>
              </p:cNvSpPr>
              <p:nvPr/>
            </p:nvSpPr>
            <p:spPr bwMode="gray">
              <a:xfrm rot="5400000">
                <a:off x="10090351" y="944561"/>
                <a:ext cx="324199" cy="324199"/>
              </a:xfrm>
              <a:custGeom>
                <a:avLst/>
                <a:gdLst>
                  <a:gd name="connsiteX0" fmla="*/ 0 w 1008112"/>
                  <a:gd name="connsiteY0" fmla="*/ 504056 h 1008112"/>
                  <a:gd name="connsiteX1" fmla="*/ 504056 w 1008112"/>
                  <a:gd name="connsiteY1" fmla="*/ 0 h 1008112"/>
                  <a:gd name="connsiteX2" fmla="*/ 504056 w 1008112"/>
                  <a:gd name="connsiteY2" fmla="*/ 504056 h 1008112"/>
                  <a:gd name="connsiteX3" fmla="*/ 0 w 1008112"/>
                  <a:gd name="connsiteY3" fmla="*/ 504056 h 1008112"/>
                  <a:gd name="connsiteX0" fmla="*/ 504056 w 595496"/>
                  <a:gd name="connsiteY0" fmla="*/ 504056 h 595496"/>
                  <a:gd name="connsiteX1" fmla="*/ 0 w 595496"/>
                  <a:gd name="connsiteY1" fmla="*/ 504056 h 595496"/>
                  <a:gd name="connsiteX2" fmla="*/ 504056 w 595496"/>
                  <a:gd name="connsiteY2" fmla="*/ 0 h 595496"/>
                  <a:gd name="connsiteX3" fmla="*/ 595496 w 595496"/>
                  <a:gd name="connsiteY3" fmla="*/ 595496 h 595496"/>
                  <a:gd name="connsiteX0" fmla="*/ 504056 w 504056"/>
                  <a:gd name="connsiteY0" fmla="*/ 504056 h 504056"/>
                  <a:gd name="connsiteX1" fmla="*/ 0 w 504056"/>
                  <a:gd name="connsiteY1" fmla="*/ 504056 h 504056"/>
                  <a:gd name="connsiteX2" fmla="*/ 504056 w 504056"/>
                  <a:gd name="connsiteY2" fmla="*/ 0 h 504056"/>
                  <a:gd name="connsiteX0" fmla="*/ 504056 w 504056"/>
                  <a:gd name="connsiteY0" fmla="*/ 504056 h 504056"/>
                  <a:gd name="connsiteX1" fmla="*/ 0 w 504056"/>
                  <a:gd name="connsiteY1" fmla="*/ 504056 h 504056"/>
                  <a:gd name="connsiteX2" fmla="*/ 504056 w 504056"/>
                  <a:gd name="connsiteY2" fmla="*/ 0 h 504056"/>
                  <a:gd name="connsiteX0" fmla="*/ 0 w 504056"/>
                  <a:gd name="connsiteY0" fmla="*/ 504056 h 504056"/>
                  <a:gd name="connsiteX1" fmla="*/ 504056 w 504056"/>
                  <a:gd name="connsiteY1" fmla="*/ 0 h 504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04056" h="504056">
                    <a:moveTo>
                      <a:pt x="0" y="504056"/>
                    </a:moveTo>
                    <a:cubicBezTo>
                      <a:pt x="0" y="225674"/>
                      <a:pt x="225674" y="0"/>
                      <a:pt x="504056" y="0"/>
                    </a:cubicBezTo>
                  </a:path>
                </a:pathLst>
              </a:custGeom>
              <a:noFill/>
              <a:ln w="38100" cap="sq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cxnSp>
            <p:nvCxnSpPr>
              <p:cNvPr id="35" name="Gerader Verbinder 16">
                <a:extLst>
                  <a:ext uri="{FF2B5EF4-FFF2-40B4-BE49-F238E27FC236}">
                    <a16:creationId xmlns:a16="http://schemas.microsoft.com/office/drawing/2014/main" id="{F4C67EA8-54D1-9228-9DD6-E59AF44ABE6D}"/>
                  </a:ext>
                </a:extLst>
              </p:cNvPr>
              <p:cNvCxnSpPr>
                <a:cxnSpLocks/>
                <a:stCxn id="34" idx="0"/>
              </p:cNvCxnSpPr>
              <p:nvPr/>
            </p:nvCxnSpPr>
            <p:spPr bwMode="gray">
              <a:xfrm rot="10800000" flipV="1">
                <a:off x="9102728" y="944561"/>
                <a:ext cx="987622" cy="0"/>
              </a:xfrm>
              <a:prstGeom prst="line">
                <a:avLst/>
              </a:prstGeom>
              <a:ln w="3810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6" name="Textplatzhalter 9">
            <a:extLst>
              <a:ext uri="{FF2B5EF4-FFF2-40B4-BE49-F238E27FC236}">
                <a16:creationId xmlns:a16="http://schemas.microsoft.com/office/drawing/2014/main" id="{8CE260A5-C274-0812-D48D-E69DF44DD197}"/>
              </a:ext>
            </a:extLst>
          </p:cNvPr>
          <p:cNvSpPr txBox="1">
            <a:spLocks/>
          </p:cNvSpPr>
          <p:nvPr/>
        </p:nvSpPr>
        <p:spPr bwMode="gray">
          <a:xfrm>
            <a:off x="6276248" y="1563941"/>
            <a:ext cx="5514100" cy="89255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</a:rPr>
              <a:t>01. 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37" name="Textplatzhalter 9">
            <a:extLst>
              <a:ext uri="{FF2B5EF4-FFF2-40B4-BE49-F238E27FC236}">
                <a16:creationId xmlns:a16="http://schemas.microsoft.com/office/drawing/2014/main" id="{CCC60EE7-75FD-0217-E80C-6056005A3E87}"/>
              </a:ext>
            </a:extLst>
          </p:cNvPr>
          <p:cNvSpPr txBox="1">
            <a:spLocks/>
          </p:cNvSpPr>
          <p:nvPr/>
        </p:nvSpPr>
        <p:spPr bwMode="gray">
          <a:xfrm>
            <a:off x="6276248" y="2718639"/>
            <a:ext cx="5514100" cy="89255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b="1">
                <a:solidFill>
                  <a:schemeClr val="accent6"/>
                </a:solidFill>
              </a:rPr>
              <a:t>02. 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683CFA0-96C5-3B8E-AFA9-CAC90AB228BE}"/>
              </a:ext>
            </a:extLst>
          </p:cNvPr>
          <p:cNvSpPr txBox="1">
            <a:spLocks/>
          </p:cNvSpPr>
          <p:nvPr/>
        </p:nvSpPr>
        <p:spPr bwMode="gray">
          <a:xfrm>
            <a:off x="6276248" y="3873337"/>
            <a:ext cx="5514100" cy="89255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</a:rPr>
              <a:t>03. 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39" name="Textplatzhalter 9">
            <a:extLst>
              <a:ext uri="{FF2B5EF4-FFF2-40B4-BE49-F238E27FC236}">
                <a16:creationId xmlns:a16="http://schemas.microsoft.com/office/drawing/2014/main" id="{92B4D5C0-9DA7-7DCD-3BA7-32500C1401CA}"/>
              </a:ext>
            </a:extLst>
          </p:cNvPr>
          <p:cNvSpPr txBox="1">
            <a:spLocks/>
          </p:cNvSpPr>
          <p:nvPr/>
        </p:nvSpPr>
        <p:spPr bwMode="gray">
          <a:xfrm>
            <a:off x="6276248" y="5028035"/>
            <a:ext cx="5514100" cy="892552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b="1">
                <a:solidFill>
                  <a:schemeClr val="accent6"/>
                </a:solidFill>
              </a:rPr>
              <a:t>04. This is a sample text</a:t>
            </a:r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 marL="228600" indent="-2286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9D6B3028-6111-BC6F-8EB3-E85DFD34545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31047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plan, plans, stage, stages, phase, phases, step, steps</a:t>
            </a:r>
          </a:p>
        </p:txBody>
      </p:sp>
    </p:spTree>
    <p:extLst>
      <p:ext uri="{BB962C8B-B14F-4D97-AF65-F5344CB8AC3E}">
        <p14:creationId xmlns:p14="http://schemas.microsoft.com/office/powerpoint/2010/main" val="25619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